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85" r:id="rId2"/>
    <p:sldId id="537" r:id="rId3"/>
    <p:sldId id="538" r:id="rId4"/>
    <p:sldId id="488" r:id="rId5"/>
    <p:sldId id="535" r:id="rId6"/>
    <p:sldId id="547" r:id="rId7"/>
    <p:sldId id="551" r:id="rId8"/>
    <p:sldId id="548" r:id="rId9"/>
    <p:sldId id="536" r:id="rId10"/>
    <p:sldId id="539" r:id="rId11"/>
    <p:sldId id="546" r:id="rId12"/>
    <p:sldId id="549" r:id="rId13"/>
    <p:sldId id="550" r:id="rId14"/>
    <p:sldId id="545" r:id="rId15"/>
    <p:sldId id="543" r:id="rId16"/>
    <p:sldId id="544" r:id="rId17"/>
  </p:sldIdLst>
  <p:sldSz cx="9144000" cy="6858000" type="screen4x3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A36823F-063C-3445-AF0C-5D14AD7A96D5}">
          <p14:sldIdLst>
            <p14:sldId id="285"/>
            <p14:sldId id="537"/>
            <p14:sldId id="538"/>
            <p14:sldId id="488"/>
          </p14:sldIdLst>
        </p14:section>
        <p14:section name="data understanding/cleaning" id="{111A5CDF-6A3C-E24F-BDC1-884E22592F90}">
          <p14:sldIdLst>
            <p14:sldId id="535"/>
            <p14:sldId id="547"/>
            <p14:sldId id="551"/>
            <p14:sldId id="548"/>
            <p14:sldId id="536"/>
          </p14:sldIdLst>
        </p14:section>
        <p14:section name="modeling/evaluation" id="{BD6E359F-2503-8B45-9F04-BC92E6CC29D4}">
          <p14:sldIdLst>
            <p14:sldId id="539"/>
            <p14:sldId id="546"/>
            <p14:sldId id="549"/>
            <p14:sldId id="550"/>
            <p14:sldId id="545"/>
            <p14:sldId id="543"/>
            <p14:sldId id="544"/>
          </p14:sldIdLst>
        </p14:section>
      </p14:sectionLst>
    </p:ext>
    <p:ext uri="{EFAFB233-063F-42B5-8137-9DF3F51BA10A}">
      <p15:sldGuideLst xmlns:p15="http://schemas.microsoft.com/office/powerpoint/2012/main">
        <p15:guide id="2" pos="204" userDrawn="1">
          <p15:clr>
            <a:srgbClr val="A4A3A4"/>
          </p15:clr>
        </p15:guide>
        <p15:guide id="3" pos="5534" userDrawn="1">
          <p15:clr>
            <a:srgbClr val="A4A3A4"/>
          </p15:clr>
        </p15:guide>
        <p15:guide id="4" orient="horz" pos="3634" userDrawn="1">
          <p15:clr>
            <a:srgbClr val="A4A3A4"/>
          </p15:clr>
        </p15:guide>
        <p15:guide id="5" pos="2857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rin Bergener" initials="KB" lastIdx="2" clrIdx="0"/>
  <p:cmAuthor id="1" name="Marcus Cramer" initials="MC" lastIdx="9" clrIdx="1">
    <p:extLst/>
  </p:cmAuthor>
  <p:cmAuthor id="2" name="Martin Wölck" initials="" lastIdx="48" clrIdx="2"/>
  <p:cmAuthor id="3" name="Martin Wö" initials="MW" lastIdx="21" clrIdx="3">
    <p:extLst/>
  </p:cmAuthor>
  <p:cmAuthor id="4" name="Johannes Berger" initials="JB" lastIdx="5" clrIdx="4"/>
  <p:cmAuthor id="5" name="Herr Johannes Berger" initials="HJB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852339"/>
    <a:srgbClr val="8797A3"/>
    <a:srgbClr val="000000"/>
    <a:srgbClr val="D9D9D9"/>
    <a:srgbClr val="003E90"/>
    <a:srgbClr val="004D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134" autoAdjust="0"/>
    <p:restoredTop sz="89863" autoAdjust="0"/>
  </p:normalViewPr>
  <p:slideViewPr>
    <p:cSldViewPr>
      <p:cViewPr>
        <p:scale>
          <a:sx n="91" d="100"/>
          <a:sy n="91" d="100"/>
        </p:scale>
        <p:origin x="1632" y="304"/>
      </p:cViewPr>
      <p:guideLst>
        <p:guide pos="204"/>
        <p:guide pos="5534"/>
        <p:guide orient="horz" pos="3634"/>
        <p:guide pos="2857"/>
        <p:guide orient="horz" pos="10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3154" y="5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gs" Target="tags/tag1.xml"/><Relationship Id="rId21" Type="http://schemas.openxmlformats.org/officeDocument/2006/relationships/commentAuthors" Target="commentAuthors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95B663-A359-4E54-8989-6E815F050B49}" type="datetimeFigureOut">
              <a:rPr lang="de-DE" smtClean="0"/>
              <a:pPr/>
              <a:t>04.01.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06FD83-94F6-4B7E-97F7-9005B88CBB0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7707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243D8-2C9D-447E-8AC2-008C661E1A6F}" type="datetimeFigureOut">
              <a:rPr lang="de-DE" smtClean="0"/>
              <a:pPr/>
              <a:t>04.01.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FFBBB1-C8EB-4E56-B1DB-58475CA8EC6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6131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(TP)=</a:t>
            </a:r>
            <a:r>
              <a:rPr lang="en-U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bability of detection</a:t>
            </a:r>
            <a:r>
              <a:rPr lang="en-US" sz="1200" i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ensitivity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C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 equal to the probability that a classifier will rank a randomly chosen positive instance higher than a randomly chosen negative one (assuming 'positive' ranks higher than 'negative'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7651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imple = max dept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1244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804025" y="4508475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1</a:t>
            </a:r>
            <a:endParaRPr lang="de-DE" dirty="0"/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6804248" y="3645024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2</a:t>
            </a:r>
            <a:endParaRPr lang="de-DE" dirty="0"/>
          </a:p>
        </p:txBody>
      </p:sp>
      <p:pic>
        <p:nvPicPr>
          <p:cNvPr id="19" name="Picture 2" descr="\\wi1.uni-muenster.de\dfs\institut\ERCIS\10 Corporate Identity\10 Corporate Design &amp; Communication\10 Logos &amp; Grafiken &amp; Bilder\10 ERCIS-Logo\logo_schrif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338" y="445245"/>
            <a:ext cx="1892185" cy="165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\\wi1.uni-muenster.de\dfs\institut\ERCIS\10 Corporate Identity\10 Corporate Design &amp; Communication\10 Logos &amp; Grafiken &amp; Bilder\30 WWU-Logo\WWU_Logo1_1c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37884"/>
            <a:ext cx="1874862" cy="405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platzhalter 35"/>
          <p:cNvSpPr>
            <a:spLocks noGrp="1"/>
          </p:cNvSpPr>
          <p:nvPr>
            <p:ph type="body" sz="quarter" idx="16"/>
          </p:nvPr>
        </p:nvSpPr>
        <p:spPr>
          <a:xfrm>
            <a:off x="467545" y="2348880"/>
            <a:ext cx="6264696" cy="504055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1484784"/>
            <a:ext cx="6264695" cy="86409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7-01-15?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644008" y="2348880"/>
            <a:ext cx="4121991" cy="35283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o 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989013" indent="0">
              <a:buFont typeface="Wingdings" pitchFamily="2" charset="2"/>
              <a:buNone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Inhaltsplatzhalter 12"/>
          <p:cNvSpPr>
            <a:spLocks noGrp="1"/>
          </p:cNvSpPr>
          <p:nvPr>
            <p:ph sz="quarter" idx="11" hasCustomPrompt="1"/>
          </p:nvPr>
        </p:nvSpPr>
        <p:spPr>
          <a:xfrm>
            <a:off x="395536" y="1772816"/>
            <a:ext cx="6552728" cy="3312368"/>
          </a:xfrm>
          <a:prstGeom prst="rect">
            <a:avLst/>
          </a:prstGeom>
        </p:spPr>
        <p:txBody>
          <a:bodyPr/>
          <a:lstStyle>
            <a:lvl1pPr marL="0">
              <a:spcAft>
                <a:spcPts val="600"/>
              </a:spcAft>
              <a:defRPr sz="25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 or Imag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5157192"/>
            <a:ext cx="6551613" cy="792162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lang="en-US" sz="1300" b="0" kern="1200" cap="all" spc="0" baseline="0" noProof="0" dirty="0" smtClean="0">
                <a:solidFill>
                  <a:schemeClr val="bg1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Click to add contact Details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183600" indent="-1836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1163638" indent="-174625"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 smtClean="0"/>
              <a:t>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8097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183600" indent="-1836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1163638" indent="-174625"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965746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183600" indent="-1836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1163638" indent="-174625"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13013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1"/>
            <a:ext cx="8353425" cy="4014600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77825" y="5831815"/>
            <a:ext cx="8353600" cy="26418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Rechteck 5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 lIns="90000"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lang="en-US" sz="2200" b="0" kern="1200" noProof="0" dirty="0" smtClean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 baseline="0"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46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Title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88640"/>
            <a:ext cx="8370464" cy="567894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82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366714" y="1556793"/>
            <a:ext cx="8309742" cy="2808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Picture (optional)</a:t>
            </a:r>
            <a:endParaRPr lang="en-US" noProof="0" dirty="0"/>
          </a:p>
        </p:txBody>
      </p:sp>
      <p:sp>
        <p:nvSpPr>
          <p:cNvPr id="6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67456" y="4941168"/>
            <a:ext cx="83090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6713" y="4460875"/>
            <a:ext cx="8309743" cy="480293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dirty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</a:pPr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41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26472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3600" indent="-1836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1163638" indent="-174625"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78001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626473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44008" y="2348880"/>
            <a:ext cx="4121992" cy="3527499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oleObject" Target="../embeddings/oleObject1.bin"/><Relationship Id="rId21" Type="http://schemas.openxmlformats.org/officeDocument/2006/relationships/image" Target="../media/image1.emf"/><Relationship Id="rId22" Type="http://schemas.openxmlformats.org/officeDocument/2006/relationships/image" Target="../media/image2.png"/><Relationship Id="rId23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theme" Target="../theme/theme1.xml"/><Relationship Id="rId18" Type="http://schemas.openxmlformats.org/officeDocument/2006/relationships/vmlDrawing" Target="../drawings/vmlDrawing1.vml"/><Relationship Id="rId1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080038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think-cell Folie" r:id="rId20" imgW="344" imgH="341" progId="TCLayout.ActiveDocument.1">
                  <p:embed/>
                </p:oleObj>
              </mc:Choice>
              <mc:Fallback>
                <p:oleObj name="think-cell Folie" r:id="rId20" imgW="344" imgH="3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2" name="Textfeld 11"/>
          <p:cNvSpPr txBox="1"/>
          <p:nvPr/>
        </p:nvSpPr>
        <p:spPr>
          <a:xfrm>
            <a:off x="378692" y="6101922"/>
            <a:ext cx="4121300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AML: Springleaf Marketing Response</a:t>
            </a:r>
          </a:p>
          <a:p>
            <a:pPr>
              <a:spcAft>
                <a:spcPts val="300"/>
              </a:spcAft>
            </a:pPr>
            <a:r>
              <a:rPr lang="de-DE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Marcus Cramer | Markus Heuchert</a:t>
            </a:r>
            <a:endParaRPr lang="en-US" sz="1100" b="0" cap="none" baseline="0" noProof="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fld id="{A9063EE5-D4E8-4F75-A77C-D3AC67F05250}" type="slidenum">
              <a:rPr lang="de-DE" sz="1100" b="0" cap="none" baseline="0" smtClean="0">
                <a:solidFill>
                  <a:schemeClr val="bg1"/>
                </a:solidFill>
                <a:latin typeface="Trebuchet MS" pitchFamily="34" charset="0"/>
              </a:rPr>
              <a:pPr algn="r">
                <a:spcAft>
                  <a:spcPts val="300"/>
                </a:spcAft>
              </a:pPr>
              <a:t>‹#›</a:t>
            </a:fld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7-01-15??</a:t>
            </a:r>
          </a:p>
        </p:txBody>
      </p:sp>
      <p:pic>
        <p:nvPicPr>
          <p:cNvPr id="16" name="Picture 2" descr="\\wi1.uni-muenster.de\dfs\institut\ERCIS\10 Corporate Identity\10 Corporate Design &amp; Communication\10 Logos &amp; Grafiken &amp; Bilder\10 ERCIS-Logo\ERCIS_logo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448" y="440382"/>
            <a:ext cx="1574224" cy="950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1" r:id="rId3"/>
    <p:sldLayoutId id="2147483664" r:id="rId4"/>
    <p:sldLayoutId id="2147483663" r:id="rId5"/>
    <p:sldLayoutId id="2147483662" r:id="rId6"/>
    <p:sldLayoutId id="2147483658" r:id="rId7"/>
    <p:sldLayoutId id="2147483653" r:id="rId8"/>
    <p:sldLayoutId id="2147483652" r:id="rId9"/>
    <p:sldLayoutId id="2147483657" r:id="rId10"/>
    <p:sldLayoutId id="2147483659" r:id="rId11"/>
    <p:sldLayoutId id="2147483654" r:id="rId12"/>
    <p:sldLayoutId id="2147483660" r:id="rId13"/>
    <p:sldLayoutId id="2147483665" r:id="rId14"/>
    <p:sldLayoutId id="2147483667" r:id="rId15"/>
    <p:sldLayoutId id="2147483668" r:id="rId1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cap="all" baseline="0">
          <a:solidFill>
            <a:srgbClr val="852339"/>
          </a:solidFill>
          <a:latin typeface="Trebuchet MS" pitchFamily="34" charset="0"/>
          <a:ea typeface="+mj-ea"/>
          <a:cs typeface="Arial" pitchFamily="34" charset="0"/>
        </a:defRPr>
      </a:lvl1pPr>
    </p:titleStyle>
    <p:bodyStyle>
      <a:lvl1pPr marL="182563" indent="-182563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300" b="0" kern="1200" spc="0" baseline="0">
          <a:solidFill>
            <a:srgbClr val="5F5F5F"/>
          </a:solidFill>
          <a:latin typeface="Trebuchet MS" pitchFamily="34" charset="0"/>
          <a:ea typeface="+mn-ea"/>
          <a:cs typeface="Arial" pitchFamily="34" charset="0"/>
        </a:defRPr>
      </a:lvl1pPr>
      <a:lvl2pPr marL="449263" indent="-182563" algn="l" defTabSz="914400" rtl="0" eaLnBrk="1" latinLnBrk="0" hangingPunct="1">
        <a:spcBef>
          <a:spcPct val="20000"/>
        </a:spcBef>
        <a:buFontTx/>
        <a:buBlip>
          <a:blip r:embed="rId23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182563" algn="l" defTabSz="914400" rtl="0" eaLnBrk="1" latinLnBrk="0" hangingPunct="1">
        <a:spcBef>
          <a:spcPct val="20000"/>
        </a:spcBef>
        <a:buFontTx/>
        <a:buBlip>
          <a:blip r:embed="rId23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174625" algn="l" defTabSz="914400" rtl="0" eaLnBrk="1" latinLnBrk="0" hangingPunct="1">
        <a:spcBef>
          <a:spcPct val="20000"/>
        </a:spcBef>
        <a:buFontTx/>
        <a:buBlip>
          <a:blip r:embed="rId23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Tx/>
        <a:buBlip>
          <a:blip r:embed="rId23"/>
        </a:buBlip>
        <a:defRPr sz="2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4" Type="http://schemas.openxmlformats.org/officeDocument/2006/relationships/image" Target="../media/image19.em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5" Type="http://schemas.openxmlformats.org/officeDocument/2006/relationships/image" Target="../media/image23.png"/><Relationship Id="rId6" Type="http://schemas.openxmlformats.org/officeDocument/2006/relationships/image" Target="../media/image24.gif"/><Relationship Id="rId7" Type="http://schemas.openxmlformats.org/officeDocument/2006/relationships/image" Target="../media/image25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4" Type="http://schemas.openxmlformats.org/officeDocument/2006/relationships/image" Target="../media/image26.emf"/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8" Type="http://schemas.openxmlformats.org/officeDocument/2006/relationships/image" Target="../media/image14.png"/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Relationship Id="rId3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seminar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(AML-R)</a:t>
            </a:r>
          </a:p>
          <a:p>
            <a:endParaRPr lang="de-DE" dirty="0"/>
          </a:p>
          <a:p>
            <a:r>
              <a:rPr lang="de-DE" dirty="0" smtClean="0"/>
              <a:t>Marcus Cramer</a:t>
            </a:r>
          </a:p>
          <a:p>
            <a:r>
              <a:rPr lang="de-DE" dirty="0" smtClean="0"/>
              <a:t>Markus </a:t>
            </a:r>
            <a:r>
              <a:rPr lang="de-DE" dirty="0" err="1" smtClean="0"/>
              <a:t>heuchert</a:t>
            </a: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67544" y="1484784"/>
            <a:ext cx="7380820" cy="864096"/>
          </a:xfrm>
        </p:spPr>
        <p:txBody>
          <a:bodyPr/>
          <a:lstStyle/>
          <a:p>
            <a:r>
              <a:rPr lang="de-DE" dirty="0" err="1" smtClean="0"/>
              <a:t>Springleaf</a:t>
            </a:r>
            <a:r>
              <a:rPr lang="de-DE" dirty="0" smtClean="0"/>
              <a:t> </a:t>
            </a:r>
            <a:r>
              <a:rPr lang="de-DE" dirty="0" err="1" smtClean="0"/>
              <a:t>marketing</a:t>
            </a:r>
            <a:r>
              <a:rPr lang="de-DE" dirty="0" smtClean="0"/>
              <a:t> </a:t>
            </a:r>
            <a:r>
              <a:rPr lang="de-DE" dirty="0" err="1" smtClean="0"/>
              <a:t>respon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576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13"/>
    </mc:Choice>
    <mc:Fallback xmlns="">
      <p:transition xmlns:p14="http://schemas.microsoft.com/office/powerpoint/2010/main" spd="slow" advTm="4413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What?</a:t>
            </a:r>
          </a:p>
          <a:p>
            <a:r>
              <a:rPr lang="en-US" dirty="0" smtClean="0"/>
              <a:t>Why?</a:t>
            </a:r>
          </a:p>
          <a:p>
            <a:r>
              <a:rPr lang="en-US" dirty="0" smtClean="0"/>
              <a:t>How?</a:t>
            </a:r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eling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575556" y="3392996"/>
            <a:ext cx="1188132" cy="68407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SVM</a:t>
            </a:r>
            <a:endParaRPr lang="en-US" sz="2400" dirty="0"/>
          </a:p>
        </p:txBody>
      </p:sp>
      <p:sp>
        <p:nvSpPr>
          <p:cNvPr id="7" name="Rounded Rectangle 6"/>
          <p:cNvSpPr/>
          <p:nvPr/>
        </p:nvSpPr>
        <p:spPr>
          <a:xfrm>
            <a:off x="575556" y="4135760"/>
            <a:ext cx="1188132" cy="68407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RF</a:t>
            </a:r>
            <a:endParaRPr lang="en-US" sz="2400" dirty="0"/>
          </a:p>
        </p:txBody>
      </p:sp>
      <p:sp>
        <p:nvSpPr>
          <p:cNvPr id="8" name="Rounded Rectangle 7"/>
          <p:cNvSpPr/>
          <p:nvPr/>
        </p:nvSpPr>
        <p:spPr>
          <a:xfrm>
            <a:off x="572490" y="4883880"/>
            <a:ext cx="1188132" cy="68407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XGB</a:t>
            </a:r>
            <a:endParaRPr lang="en-US" sz="2400" dirty="0"/>
          </a:p>
        </p:txBody>
      </p:sp>
      <p:sp>
        <p:nvSpPr>
          <p:cNvPr id="9" name="Rounded Rectangle 8"/>
          <p:cNvSpPr/>
          <p:nvPr/>
        </p:nvSpPr>
        <p:spPr>
          <a:xfrm>
            <a:off x="5220072" y="3303117"/>
            <a:ext cx="540000" cy="540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42</a:t>
            </a:r>
            <a:endParaRPr lang="en-US" sz="2000" dirty="0"/>
          </a:p>
        </p:txBody>
      </p:sp>
      <p:sp>
        <p:nvSpPr>
          <p:cNvPr id="10" name="Rounded Rectangle 9"/>
          <p:cNvSpPr/>
          <p:nvPr/>
        </p:nvSpPr>
        <p:spPr>
          <a:xfrm>
            <a:off x="5220072" y="3865760"/>
            <a:ext cx="540000" cy="540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BCD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211637" y="4477798"/>
            <a:ext cx="540000" cy="540000"/>
            <a:chOff x="5644110" y="4428403"/>
            <a:chExt cx="540000" cy="540000"/>
          </a:xfrm>
        </p:grpSpPr>
        <p:sp>
          <p:nvSpPr>
            <p:cNvPr id="11" name="Rounded Rectangle 10"/>
            <p:cNvSpPr/>
            <p:nvPr/>
          </p:nvSpPr>
          <p:spPr>
            <a:xfrm>
              <a:off x="5644110" y="4428403"/>
              <a:ext cx="540000" cy="54000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Triangle 11"/>
            <p:cNvSpPr/>
            <p:nvPr/>
          </p:nvSpPr>
          <p:spPr>
            <a:xfrm>
              <a:off x="5699148" y="4707482"/>
              <a:ext cx="180000" cy="180000"/>
            </a:xfrm>
            <a:prstGeom prst="triangl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Process 12"/>
            <p:cNvSpPr/>
            <p:nvPr/>
          </p:nvSpPr>
          <p:spPr>
            <a:xfrm>
              <a:off x="5824110" y="4491269"/>
              <a:ext cx="180000" cy="180000"/>
            </a:xfrm>
            <a:prstGeom prst="flowChartProcess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5934186" y="4729836"/>
              <a:ext cx="180000" cy="180000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err="1" smtClean="0"/>
              <a:t>dfd</a:t>
            </a:r>
            <a:endParaRPr lang="en-US" dirty="0"/>
          </a:p>
        </p:txBody>
      </p:sp>
      <p:grpSp>
        <p:nvGrpSpPr>
          <p:cNvPr id="25" name="Group 24"/>
          <p:cNvGrpSpPr/>
          <p:nvPr/>
        </p:nvGrpSpPr>
        <p:grpSpPr>
          <a:xfrm>
            <a:off x="5231713" y="5112479"/>
            <a:ext cx="540000" cy="540000"/>
            <a:chOff x="6655232" y="4486877"/>
            <a:chExt cx="540000" cy="540000"/>
          </a:xfrm>
        </p:grpSpPr>
        <p:sp>
          <p:nvSpPr>
            <p:cNvPr id="17" name="Rounded Rectangle 16"/>
            <p:cNvSpPr/>
            <p:nvPr/>
          </p:nvSpPr>
          <p:spPr>
            <a:xfrm>
              <a:off x="6655232" y="4486877"/>
              <a:ext cx="540000" cy="540000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1074" y="4562719"/>
              <a:ext cx="388317" cy="3883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60945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4175956" y="2116831"/>
            <a:ext cx="4555469" cy="3445769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ROC curves visualize binary classification performance </a:t>
            </a:r>
          </a:p>
          <a:p>
            <a:r>
              <a:rPr lang="en-US" dirty="0" smtClean="0"/>
              <a:t>The better a classifier, the closer </a:t>
            </a:r>
            <a:r>
              <a:rPr lang="en-US" dirty="0" smtClean="0"/>
              <a:t>its </a:t>
            </a:r>
            <a:r>
              <a:rPr lang="en-US" dirty="0" smtClean="0"/>
              <a:t>curve is to the top-left </a:t>
            </a:r>
            <a:r>
              <a:rPr lang="en-US" dirty="0" smtClean="0"/>
              <a:t>corner</a:t>
            </a:r>
          </a:p>
          <a:p>
            <a:r>
              <a:rPr lang="en-US" dirty="0" smtClean="0"/>
              <a:t>The threshold of a classifier defines a point on the curve</a:t>
            </a:r>
            <a:endParaRPr lang="en-US" dirty="0" smtClean="0"/>
          </a:p>
          <a:p>
            <a:r>
              <a:rPr lang="en-US" dirty="0" smtClean="0"/>
              <a:t>AUC summarizes the performance and is </a:t>
            </a:r>
            <a:br>
              <a:rPr lang="en-US" dirty="0" smtClean="0"/>
            </a:br>
            <a:r>
              <a:rPr lang="en-US" dirty="0" smtClean="0"/>
              <a:t>between 0 and 1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Area under curve (AUC) as the performance </a:t>
            </a:r>
            <a:r>
              <a:rPr lang="en-US" dirty="0" smtClean="0"/>
              <a:t>criterion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eiver </a:t>
            </a:r>
            <a:r>
              <a:rPr lang="en-US" smtClean="0"/>
              <a:t>operator characteristic</a:t>
            </a:r>
            <a:endParaRPr lang="en-US"/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899592" y="2116832"/>
            <a:ext cx="36004" cy="2952328"/>
          </a:xfrm>
          <a:prstGeom prst="straightConnector1">
            <a:avLst/>
          </a:prstGeom>
          <a:ln>
            <a:solidFill>
              <a:srgbClr val="5F5F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rot="5400000" flipV="1">
            <a:off x="2362870" y="3592996"/>
            <a:ext cx="36004" cy="2952328"/>
          </a:xfrm>
          <a:prstGeom prst="straightConnector1">
            <a:avLst/>
          </a:prstGeom>
          <a:ln>
            <a:solidFill>
              <a:srgbClr val="5F5F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900485" y="2348880"/>
            <a:ext cx="2724396" cy="2702278"/>
          </a:xfrm>
          <a:prstGeom prst="line">
            <a:avLst/>
          </a:prstGeom>
          <a:ln>
            <a:solidFill>
              <a:srgbClr val="5F5F5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837135" y="5095174"/>
            <a:ext cx="815146" cy="376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>
                <a:solidFill>
                  <a:srgbClr val="5F5F5F"/>
                </a:solidFill>
              </a:rPr>
              <a:t>P(FP)</a:t>
            </a:r>
            <a:endParaRPr lang="en-US">
              <a:solidFill>
                <a:srgbClr val="5F5F5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286905" y="3367269"/>
            <a:ext cx="815146" cy="376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>
                <a:solidFill>
                  <a:srgbClr val="5F5F5F"/>
                </a:solidFill>
              </a:rPr>
              <a:t>P(TP)</a:t>
            </a:r>
            <a:endParaRPr lang="en-US">
              <a:solidFill>
                <a:srgbClr val="5F5F5F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914400" y="2328863"/>
            <a:ext cx="2714625" cy="2707481"/>
          </a:xfrm>
          <a:custGeom>
            <a:avLst/>
            <a:gdLst>
              <a:gd name="connsiteX0" fmla="*/ 0 w 2714625"/>
              <a:gd name="connsiteY0" fmla="*/ 2707481 h 2707481"/>
              <a:gd name="connsiteX1" fmla="*/ 707231 w 2714625"/>
              <a:gd name="connsiteY1" fmla="*/ 885825 h 2707481"/>
              <a:gd name="connsiteX2" fmla="*/ 2714625 w 2714625"/>
              <a:gd name="connsiteY2" fmla="*/ 0 h 2707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14625" h="2707481">
                <a:moveTo>
                  <a:pt x="0" y="2707481"/>
                </a:moveTo>
                <a:cubicBezTo>
                  <a:pt x="127397" y="2022276"/>
                  <a:pt x="254794" y="1337072"/>
                  <a:pt x="707231" y="885825"/>
                </a:cubicBezTo>
                <a:cubicBezTo>
                  <a:pt x="1159668" y="434578"/>
                  <a:pt x="2382441" y="213122"/>
                  <a:pt x="2714625" y="0"/>
                </a:cubicBezTo>
              </a:path>
            </a:pathLst>
          </a:custGeom>
          <a:noFill/>
          <a:ln w="12700"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907256" y="2299936"/>
            <a:ext cx="2721769" cy="2743552"/>
          </a:xfrm>
          <a:custGeom>
            <a:avLst/>
            <a:gdLst>
              <a:gd name="connsiteX0" fmla="*/ 0 w 2721769"/>
              <a:gd name="connsiteY0" fmla="*/ 2743552 h 2743552"/>
              <a:gd name="connsiteX1" fmla="*/ 657225 w 2721769"/>
              <a:gd name="connsiteY1" fmla="*/ 428977 h 2743552"/>
              <a:gd name="connsiteX2" fmla="*/ 2721769 w 2721769"/>
              <a:gd name="connsiteY2" fmla="*/ 352 h 2743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21769" h="2743552">
                <a:moveTo>
                  <a:pt x="0" y="2743552"/>
                </a:moveTo>
                <a:cubicBezTo>
                  <a:pt x="101798" y="1814864"/>
                  <a:pt x="203597" y="886177"/>
                  <a:pt x="657225" y="428977"/>
                </a:cubicBezTo>
                <a:cubicBezTo>
                  <a:pt x="1110853" y="-28223"/>
                  <a:pt x="2721769" y="352"/>
                  <a:pt x="2721769" y="352"/>
                </a:cubicBezTo>
              </a:path>
            </a:pathLst>
          </a:cu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/>
          <p:cNvCxnSpPr/>
          <p:nvPr/>
        </p:nvCxnSpPr>
        <p:spPr>
          <a:xfrm>
            <a:off x="2292281" y="5719773"/>
            <a:ext cx="360000" cy="0"/>
          </a:xfrm>
          <a:prstGeom prst="line">
            <a:avLst/>
          </a:prstGeom>
          <a:ln>
            <a:solidFill>
              <a:srgbClr val="5F5F5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652281" y="5581274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5F5F5F"/>
                </a:solidFill>
              </a:rPr>
              <a:t>r</a:t>
            </a:r>
            <a:r>
              <a:rPr lang="en-US" sz="1200" dirty="0" smtClean="0">
                <a:solidFill>
                  <a:srgbClr val="5F5F5F"/>
                </a:solidFill>
              </a:rPr>
              <a:t>andom guess</a:t>
            </a:r>
            <a:endParaRPr lang="en-US" sz="1200" dirty="0">
              <a:solidFill>
                <a:srgbClr val="5F5F5F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2292281" y="5913276"/>
            <a:ext cx="360000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653919" y="5811136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5F5F5F"/>
                </a:solidFill>
              </a:rPr>
              <a:t>classifiers</a:t>
            </a:r>
            <a:endParaRPr lang="en-US" sz="1200" dirty="0">
              <a:solidFill>
                <a:srgbClr val="5F5F5F"/>
              </a:solidFill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2292281" y="5985284"/>
            <a:ext cx="360000" cy="0"/>
          </a:xfrm>
          <a:prstGeom prst="line">
            <a:avLst/>
          </a:prstGeom>
          <a:ln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46426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378001" y="1548001"/>
            <a:ext cx="6102212" cy="4014600"/>
          </a:xfrm>
        </p:spPr>
        <p:txBody>
          <a:bodyPr/>
          <a:lstStyle/>
          <a:p>
            <a:r>
              <a:rPr lang="en-US" dirty="0" smtClean="0"/>
              <a:t>Boosting algorithms fit iteratively weak learners of the same </a:t>
            </a:r>
            <a:r>
              <a:rPr lang="en-US" dirty="0" smtClean="0"/>
              <a:t>type</a:t>
            </a:r>
          </a:p>
          <a:p>
            <a:pPr lvl="1"/>
            <a:r>
              <a:rPr lang="en-US" dirty="0" smtClean="0"/>
              <a:t>Small decision trees </a:t>
            </a:r>
            <a:r>
              <a:rPr lang="en-US" smtClean="0"/>
              <a:t>for instance</a:t>
            </a:r>
            <a:endParaRPr lang="en-US" dirty="0" smtClean="0"/>
          </a:p>
          <a:p>
            <a:r>
              <a:rPr lang="en-US" dirty="0" smtClean="0"/>
              <a:t>Next iteration focuses on previously misclassified data</a:t>
            </a:r>
            <a:endParaRPr lang="en-US" dirty="0"/>
          </a:p>
          <a:p>
            <a:r>
              <a:rPr lang="en-US" dirty="0" smtClean="0"/>
              <a:t>Adding up all learners with weights gives a powerful </a:t>
            </a:r>
            <a:r>
              <a:rPr lang="en-US" dirty="0" smtClean="0"/>
              <a:t>learner</a:t>
            </a:r>
          </a:p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70800" y="1052736"/>
            <a:ext cx="6865496" cy="271695"/>
          </a:xfrm>
        </p:spPr>
        <p:txBody>
          <a:bodyPr/>
          <a:lstStyle/>
          <a:p>
            <a:r>
              <a:rPr lang="en-US" dirty="0" smtClean="0"/>
              <a:t>algorithms which convert weak learners into a </a:t>
            </a:r>
            <a:r>
              <a:rPr lang="en-US" smtClean="0"/>
              <a:t>strong learner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osting (Additive learning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6" name="Gruppieren 16"/>
          <p:cNvGrpSpPr/>
          <p:nvPr/>
        </p:nvGrpSpPr>
        <p:grpSpPr>
          <a:xfrm>
            <a:off x="7308302" y="2096852"/>
            <a:ext cx="1008114" cy="2069991"/>
            <a:chOff x="7884366" y="2988323"/>
            <a:chExt cx="1008114" cy="2069991"/>
          </a:xfrm>
        </p:grpSpPr>
        <p:cxnSp>
          <p:nvCxnSpPr>
            <p:cNvPr id="7" name="Gerade Verbindung mit Pfeil 15"/>
            <p:cNvCxnSpPr/>
            <p:nvPr/>
          </p:nvCxnSpPr>
          <p:spPr>
            <a:xfrm flipH="1">
              <a:off x="8367412" y="4805439"/>
              <a:ext cx="1" cy="25287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uppieren 19"/>
            <p:cNvGrpSpPr/>
            <p:nvPr/>
          </p:nvGrpSpPr>
          <p:grpSpPr>
            <a:xfrm>
              <a:off x="7884366" y="2988323"/>
              <a:ext cx="1008114" cy="1815099"/>
              <a:chOff x="7884366" y="3057626"/>
              <a:chExt cx="1008114" cy="1815099"/>
            </a:xfrm>
          </p:grpSpPr>
          <p:sp>
            <p:nvSpPr>
              <p:cNvPr id="11" name="Rechteck 8"/>
              <p:cNvSpPr/>
              <p:nvPr/>
            </p:nvSpPr>
            <p:spPr>
              <a:xfrm>
                <a:off x="7884368" y="3057626"/>
                <a:ext cx="1008112" cy="436891"/>
              </a:xfrm>
              <a:prstGeom prst="rect">
                <a:avLst/>
              </a:prstGeom>
              <a:solidFill>
                <a:srgbClr val="8523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sz="1500" smtClean="0"/>
                  <a:t>Learner 1</a:t>
                </a:r>
                <a:endParaRPr lang="en-GB" sz="1500" dirty="0"/>
              </a:p>
            </p:txBody>
          </p:sp>
          <p:sp>
            <p:nvSpPr>
              <p:cNvPr id="12" name="Rechteck 9"/>
              <p:cNvSpPr/>
              <p:nvPr/>
            </p:nvSpPr>
            <p:spPr>
              <a:xfrm>
                <a:off x="7884366" y="3746068"/>
                <a:ext cx="1008113" cy="436891"/>
              </a:xfrm>
              <a:prstGeom prst="rect">
                <a:avLst/>
              </a:prstGeom>
              <a:solidFill>
                <a:srgbClr val="8523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500" dirty="0"/>
                  <a:t>Weighted Data</a:t>
                </a:r>
              </a:p>
            </p:txBody>
          </p:sp>
          <p:sp>
            <p:nvSpPr>
              <p:cNvPr id="13" name="Rechteck 10"/>
              <p:cNvSpPr/>
              <p:nvPr/>
            </p:nvSpPr>
            <p:spPr>
              <a:xfrm>
                <a:off x="7884367" y="4435834"/>
                <a:ext cx="1008112" cy="436891"/>
              </a:xfrm>
              <a:prstGeom prst="rect">
                <a:avLst/>
              </a:prstGeom>
              <a:solidFill>
                <a:srgbClr val="8523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sz="1500" dirty="0" smtClean="0"/>
                  <a:t>Learner 2</a:t>
                </a:r>
                <a:endParaRPr lang="en-GB" sz="1500" dirty="0"/>
              </a:p>
            </p:txBody>
          </p:sp>
          <p:cxnSp>
            <p:nvCxnSpPr>
              <p:cNvPr id="14" name="Gerade Verbindung mit Pfeil 12"/>
              <p:cNvCxnSpPr>
                <a:stCxn id="13" idx="2"/>
                <a:endCxn id="14" idx="0"/>
              </p:cNvCxnSpPr>
              <p:nvPr/>
            </p:nvCxnSpPr>
            <p:spPr>
              <a:xfrm>
                <a:off x="8388424" y="3494517"/>
                <a:ext cx="0" cy="25155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mit Pfeil 14"/>
              <p:cNvCxnSpPr>
                <a:stCxn id="14" idx="2"/>
                <a:endCxn id="15" idx="0"/>
              </p:cNvCxnSpPr>
              <p:nvPr/>
            </p:nvCxnSpPr>
            <p:spPr>
              <a:xfrm flipH="1">
                <a:off x="8388423" y="4182959"/>
                <a:ext cx="1" cy="25287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" name="Rechteck 9"/>
          <p:cNvSpPr/>
          <p:nvPr/>
        </p:nvSpPr>
        <p:spPr>
          <a:xfrm>
            <a:off x="7308303" y="4149490"/>
            <a:ext cx="1008112" cy="436891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00" dirty="0"/>
              <a:t>Weighted Data</a:t>
            </a:r>
          </a:p>
        </p:txBody>
      </p:sp>
      <p:cxnSp>
        <p:nvCxnSpPr>
          <p:cNvPr id="17" name="Gerade Verbindung mit Pfeil 15"/>
          <p:cNvCxnSpPr/>
          <p:nvPr/>
        </p:nvCxnSpPr>
        <p:spPr>
          <a:xfrm flipH="1">
            <a:off x="7823339" y="4586381"/>
            <a:ext cx="1" cy="2528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481301" y="4797152"/>
            <a:ext cx="684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mr-IN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592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Each new model gradually </a:t>
            </a:r>
            <a:r>
              <a:rPr lang="en-US" dirty="0" smtClean="0"/>
              <a:t>optimizes the objective, </a:t>
            </a:r>
            <a:r>
              <a:rPr lang="en-US" dirty="0" smtClean="0"/>
              <a:t>which is approximated through </a:t>
            </a:r>
            <a:r>
              <a:rPr lang="en-US" dirty="0"/>
              <a:t>T</a:t>
            </a:r>
            <a:r>
              <a:rPr lang="en-US" dirty="0" smtClean="0"/>
              <a:t>aylor expansion</a:t>
            </a:r>
          </a:p>
          <a:p>
            <a:r>
              <a:rPr lang="en-US" dirty="0" smtClean="0"/>
              <a:t>For binary classification, simple decision trees are fitted</a:t>
            </a:r>
          </a:p>
          <a:p>
            <a:pPr lvl="1"/>
            <a:r>
              <a:rPr lang="en-US" dirty="0" smtClean="0"/>
              <a:t>Subsampling of predictors and data as in bagging is used</a:t>
            </a:r>
          </a:p>
          <a:p>
            <a:r>
              <a:rPr lang="en-US" dirty="0" smtClean="0"/>
              <a:t>Plenty of customization </a:t>
            </a:r>
            <a:r>
              <a:rPr lang="en-US" dirty="0" smtClean="0"/>
              <a:t>possible</a:t>
            </a:r>
          </a:p>
          <a:p>
            <a:r>
              <a:rPr lang="en-US" dirty="0" err="1" smtClean="0"/>
              <a:t>XGBoost</a:t>
            </a:r>
            <a:r>
              <a:rPr lang="en-US" dirty="0" smtClean="0"/>
              <a:t> has won many </a:t>
            </a:r>
            <a:r>
              <a:rPr lang="en-US" dirty="0" err="1" smtClean="0"/>
              <a:t>Kaggle</a:t>
            </a:r>
            <a:r>
              <a:rPr lang="en-US" dirty="0" smtClean="0"/>
              <a:t> competition, due to its</a:t>
            </a:r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Popular boosting algorithm 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Xtreme</a:t>
            </a:r>
            <a:r>
              <a:rPr lang="en-US" dirty="0" smtClean="0"/>
              <a:t> gradient Boosting (</a:t>
            </a:r>
            <a:r>
              <a:rPr lang="en-US" dirty="0" err="1" smtClean="0"/>
              <a:t>xgboost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http://</a:t>
            </a:r>
            <a:r>
              <a:rPr lang="en-US" dirty="0" err="1"/>
              <a:t>datascience.stackexchange.com</a:t>
            </a:r>
            <a:r>
              <a:rPr lang="en-US" dirty="0"/>
              <a:t>/questions/10943/why-is-xgboost-so-much-faster-than-sklearn-gradientboostingclassifier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2166865" y="4234552"/>
            <a:ext cx="1107667" cy="1341707"/>
            <a:chOff x="2015715" y="4234552"/>
            <a:chExt cx="1107667" cy="1341707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23728" y="4234552"/>
              <a:ext cx="891643" cy="890738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2015715" y="5206927"/>
              <a:ext cx="11076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mtClean="0"/>
                <a:t>Power</a:t>
              </a:r>
              <a:endParaRPr lang="en-US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913059" y="4323399"/>
            <a:ext cx="1107667" cy="1252860"/>
            <a:chOff x="3999978" y="4323399"/>
            <a:chExt cx="1107667" cy="1252860"/>
          </a:xfrm>
        </p:grpSpPr>
        <p:grpSp>
          <p:nvGrpSpPr>
            <p:cNvPr id="17" name="Group 16"/>
            <p:cNvGrpSpPr/>
            <p:nvPr/>
          </p:nvGrpSpPr>
          <p:grpSpPr>
            <a:xfrm>
              <a:off x="4179717" y="4323399"/>
              <a:ext cx="748187" cy="818730"/>
              <a:chOff x="2303748" y="4617132"/>
              <a:chExt cx="748187" cy="818730"/>
            </a:xfrm>
          </p:grpSpPr>
          <p:sp>
            <p:nvSpPr>
              <p:cNvPr id="7" name="Chevron 6"/>
              <p:cNvSpPr/>
              <p:nvPr/>
            </p:nvSpPr>
            <p:spPr>
              <a:xfrm>
                <a:off x="2303748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Chevron 7"/>
              <p:cNvSpPr/>
              <p:nvPr/>
            </p:nvSpPr>
            <p:spPr>
              <a:xfrm>
                <a:off x="2452303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Chevron 8"/>
              <p:cNvSpPr/>
              <p:nvPr/>
            </p:nvSpPr>
            <p:spPr>
              <a:xfrm>
                <a:off x="2600858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Chevron 9"/>
              <p:cNvSpPr/>
              <p:nvPr/>
            </p:nvSpPr>
            <p:spPr>
              <a:xfrm>
                <a:off x="2303748" y="5062501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Chevron 10"/>
              <p:cNvSpPr/>
              <p:nvPr/>
            </p:nvSpPr>
            <p:spPr>
              <a:xfrm>
                <a:off x="2452303" y="5062501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Chevron 11"/>
              <p:cNvSpPr/>
              <p:nvPr/>
            </p:nvSpPr>
            <p:spPr>
              <a:xfrm>
                <a:off x="2600858" y="5062501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Chevron 12"/>
              <p:cNvSpPr/>
              <p:nvPr/>
            </p:nvSpPr>
            <p:spPr>
              <a:xfrm>
                <a:off x="2749413" y="5062500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Chevron 13"/>
              <p:cNvSpPr/>
              <p:nvPr/>
            </p:nvSpPr>
            <p:spPr>
              <a:xfrm>
                <a:off x="2754824" y="4617132"/>
                <a:ext cx="297111" cy="373361"/>
              </a:xfrm>
              <a:prstGeom prst="chevron">
                <a:avLst>
                  <a:gd name="adj" fmla="val 69857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3999978" y="5206927"/>
              <a:ext cx="11076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Speed</a:t>
              </a:r>
              <a:endParaRPr lang="en-US" dirty="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508104" y="4321721"/>
            <a:ext cx="1649050" cy="1269890"/>
            <a:chOff x="5356954" y="4321721"/>
            <a:chExt cx="1649050" cy="1269890"/>
          </a:xfrm>
        </p:grpSpPr>
        <p:pic>
          <p:nvPicPr>
            <p:cNvPr id="18" name="Grafik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16994" y="4321721"/>
              <a:ext cx="960459" cy="896965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5356954" y="5222279"/>
              <a:ext cx="16490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mtClean="0"/>
                <a:t>Customization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8479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ach model is an ensemble of weak classifiers (trees)</a:t>
            </a:r>
          </a:p>
          <a:p>
            <a:r>
              <a:rPr lang="en-US" dirty="0" smtClean="0"/>
              <a:t>We make predictions by summing up predictions from each tree</a:t>
            </a:r>
          </a:p>
          <a:p>
            <a:r>
              <a:rPr lang="en-US" dirty="0" smtClean="0"/>
              <a:t>Each step adds one tree</a:t>
            </a:r>
          </a:p>
          <a:p>
            <a:r>
              <a:rPr lang="en-US" dirty="0" err="1" smtClean="0"/>
              <a:t>LogLoss</a:t>
            </a:r>
            <a:r>
              <a:rPr lang="en-US" dirty="0" smtClean="0"/>
              <a:t> loss function for binary classification</a:t>
            </a:r>
          </a:p>
          <a:p>
            <a:r>
              <a:rPr lang="en-US" dirty="0" smtClean="0"/>
              <a:t>We can assign a score analytically with the best solution, because it is quadratic (for L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xgboo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118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XGBoost</a:t>
            </a:r>
            <a:r>
              <a:rPr lang="de-DE" dirty="0"/>
              <a:t> </a:t>
            </a:r>
            <a:r>
              <a:rPr lang="en-GB" dirty="0">
                <a:sym typeface="Wingdings" panose="05000000000000000000" pitchFamily="2" charset="2"/>
              </a:rPr>
              <a:t>is short for</a:t>
            </a:r>
            <a:r>
              <a:rPr lang="en-GB" dirty="0"/>
              <a:t> </a:t>
            </a:r>
            <a:r>
              <a:rPr lang="en-GB" dirty="0" err="1"/>
              <a:t>eXtreme</a:t>
            </a:r>
            <a:r>
              <a:rPr lang="en-GB" dirty="0"/>
              <a:t> Gradient Boosting</a:t>
            </a:r>
          </a:p>
          <a:p>
            <a:r>
              <a:rPr lang="en-US" dirty="0"/>
              <a:t>Scalable and flexible gradient boosting framework</a:t>
            </a:r>
          </a:p>
          <a:p>
            <a:r>
              <a:rPr lang="en-US" dirty="0"/>
              <a:t>Supports multiple languages</a:t>
            </a:r>
            <a:endParaRPr lang="de-DE" dirty="0"/>
          </a:p>
          <a:p>
            <a:r>
              <a:rPr lang="en-GB" dirty="0"/>
              <a:t>Many </a:t>
            </a:r>
            <a:r>
              <a:rPr lang="en-GB" dirty="0" err="1"/>
              <a:t>Kaggle</a:t>
            </a:r>
            <a:r>
              <a:rPr lang="en-GB" dirty="0"/>
              <a:t> competitions were won with </a:t>
            </a:r>
            <a:r>
              <a:rPr lang="en-GB" dirty="0" err="1"/>
              <a:t>XGBoost</a:t>
            </a:r>
            <a:r>
              <a:rPr lang="en-US" dirty="0"/>
              <a:t/>
            </a:r>
            <a:br>
              <a:rPr lang="en-US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gradient boosting framework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Xgboost</a:t>
            </a:r>
            <a:endParaRPr lang="de-DE" dirty="0"/>
          </a:p>
        </p:txBody>
      </p:sp>
      <p:pic>
        <p:nvPicPr>
          <p:cNvPr id="3074" name="Picture 2" descr="C/ C++ source code hom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764" y="5085799"/>
            <a:ext cx="844903" cy="887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://www.bebetterdeveloper.com/img/post_img/python-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0534" y="5073505"/>
            <a:ext cx="963116" cy="96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www.r-project.org/R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1282" y="5203092"/>
            <a:ext cx="1003848" cy="77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s://upload.wikimedia.org/wikipedia/en/thumb/3/30/Java_programming_language_logo.svg/549px-Java_programming_language_logo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863" y="5089239"/>
            <a:ext cx="478142" cy="891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s://learnersguide.files.wordpress.com/2014/10/scala-logo.g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5324655"/>
            <a:ext cx="1520136" cy="675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https://upload.wikimedia.org/wikipedia/commons/thumb/6/69/Julia_prog_language.svg/1280px-Julia_prog_language.sv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7982" y="5211645"/>
            <a:ext cx="1095708" cy="740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6943995" y="33966"/>
            <a:ext cx="2556284" cy="13233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rom </a:t>
            </a:r>
            <a:r>
              <a:rPr lang="en-US" dirty="0" err="1" smtClean="0"/>
              <a:t>Voscorts</a:t>
            </a:r>
            <a:r>
              <a:rPr lang="en-US" smtClean="0"/>
              <a:t>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0535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3"/>
          </p:nvPr>
        </p:nvSpPr>
        <p:spPr>
          <a:xfrm>
            <a:off x="1547664" y="1548000"/>
            <a:ext cx="7183761" cy="431958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Performance</a:t>
            </a:r>
          </a:p>
          <a:p>
            <a:pPr lvl="1"/>
            <a:r>
              <a:rPr lang="en-GB" dirty="0"/>
              <a:t>Regularization</a:t>
            </a:r>
          </a:p>
          <a:p>
            <a:pPr lvl="1"/>
            <a:r>
              <a:rPr lang="en-GB" dirty="0"/>
              <a:t>Prune on full binary trees</a:t>
            </a:r>
          </a:p>
          <a:p>
            <a:pPr lvl="1"/>
            <a:endParaRPr lang="en-GB" dirty="0"/>
          </a:p>
          <a:p>
            <a:pPr marL="0" indent="0">
              <a:buNone/>
            </a:pPr>
            <a:r>
              <a:rPr lang="en-GB" dirty="0"/>
              <a:t>Speed</a:t>
            </a:r>
          </a:p>
          <a:p>
            <a:pPr lvl="1"/>
            <a:r>
              <a:rPr lang="en-GB" dirty="0"/>
              <a:t>Parallel Processing with </a:t>
            </a:r>
            <a:r>
              <a:rPr lang="en-GB" dirty="0" err="1"/>
              <a:t>OpenMp</a:t>
            </a:r>
            <a:endParaRPr lang="en-GB" dirty="0"/>
          </a:p>
          <a:p>
            <a:pPr lvl="1"/>
            <a:endParaRPr lang="en-GB" dirty="0"/>
          </a:p>
          <a:p>
            <a:pPr marL="0" indent="0">
              <a:buNone/>
            </a:pPr>
            <a:r>
              <a:rPr lang="en-GB" dirty="0"/>
              <a:t>Customization</a:t>
            </a:r>
          </a:p>
          <a:p>
            <a:pPr lvl="1"/>
            <a:r>
              <a:rPr lang="en-GB" dirty="0"/>
              <a:t>Custom optimization objectives</a:t>
            </a:r>
          </a:p>
          <a:p>
            <a:pPr lvl="1"/>
            <a:r>
              <a:rPr lang="en-GB" dirty="0"/>
              <a:t>Parameter tuni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Difference between </a:t>
            </a:r>
            <a:r>
              <a:rPr lang="en-GB" dirty="0" err="1"/>
              <a:t>gbm</a:t>
            </a:r>
            <a:r>
              <a:rPr lang="en-GB" dirty="0"/>
              <a:t> and </a:t>
            </a:r>
            <a:r>
              <a:rPr lang="en-GB" dirty="0" err="1"/>
              <a:t>xgboost</a:t>
            </a:r>
            <a:endParaRPr lang="en-GB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makes the </a:t>
            </a:r>
            <a:r>
              <a:rPr lang="en-GB" dirty="0">
                <a:solidFill>
                  <a:schemeClr val="accent1"/>
                </a:solidFill>
              </a:rPr>
              <a:t>difference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329" y="4479226"/>
            <a:ext cx="960459" cy="89696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145" y="1687677"/>
            <a:ext cx="891643" cy="89073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7050" y="3236493"/>
            <a:ext cx="886738" cy="58465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943995" y="33966"/>
            <a:ext cx="2556284" cy="13233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rom </a:t>
            </a:r>
            <a:r>
              <a:rPr lang="en-US" dirty="0" err="1" smtClean="0"/>
              <a:t>Voscorts</a:t>
            </a:r>
            <a:r>
              <a:rPr lang="en-US" smtClean="0"/>
              <a:t>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394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-3960948" y="-938783"/>
            <a:ext cx="6174220" cy="1993254"/>
          </a:xfrm>
        </p:spPr>
        <p:txBody>
          <a:bodyPr>
            <a:normAutofit fontScale="92500" lnSpcReduction="10000"/>
          </a:bodyPr>
          <a:lstStyle/>
          <a:p>
            <a:r>
              <a:rPr lang="en-US" dirty="0" err="1" smtClean="0"/>
              <a:t>Kaggle</a:t>
            </a:r>
            <a:r>
              <a:rPr lang="en-US" dirty="0" smtClean="0"/>
              <a:t> challenge from August 2015</a:t>
            </a:r>
          </a:p>
          <a:p>
            <a:r>
              <a:rPr lang="en-US" dirty="0" smtClean="0"/>
              <a:t>Binary classification problem</a:t>
            </a:r>
          </a:p>
          <a:p>
            <a:r>
              <a:rPr lang="en-US" dirty="0" smtClean="0"/>
              <a:t>1.934 anonymized variables</a:t>
            </a:r>
          </a:p>
          <a:p>
            <a:r>
              <a:rPr lang="en-US" dirty="0" smtClean="0"/>
              <a:t>150.000 labels records for training</a:t>
            </a:r>
          </a:p>
          <a:p>
            <a:r>
              <a:rPr lang="en-US" dirty="0" smtClean="0"/>
              <a:t>Major challenges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573881"/>
            <a:ext cx="6504533" cy="831846"/>
          </a:xfrm>
        </p:spPr>
        <p:txBody>
          <a:bodyPr/>
          <a:lstStyle/>
          <a:p>
            <a:r>
              <a:rPr lang="de-DE" dirty="0" err="1"/>
              <a:t>Determine</a:t>
            </a:r>
            <a:r>
              <a:rPr lang="de-DE" dirty="0"/>
              <a:t> </a:t>
            </a:r>
            <a:r>
              <a:rPr lang="de-DE" dirty="0" err="1"/>
              <a:t>wheth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send a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direct</a:t>
            </a:r>
            <a:r>
              <a:rPr lang="de-DE" dirty="0" smtClean="0"/>
              <a:t> </a:t>
            </a:r>
            <a:r>
              <a:rPr lang="de-DE" dirty="0"/>
              <a:t>mail </a:t>
            </a:r>
            <a:r>
              <a:rPr lang="de-DE" dirty="0" err="1"/>
              <a:t>pie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 smtClean="0"/>
              <a:t>customer</a:t>
            </a:r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71722" y="5818994"/>
            <a:ext cx="8353600" cy="26418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5136" y="1921112"/>
            <a:ext cx="2921124" cy="137142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-710378" y="3166471"/>
            <a:ext cx="38524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6000" b="1" dirty="0" smtClean="0">
                <a:solidFill>
                  <a:srgbClr val="852339"/>
                </a:solidFill>
                <a:latin typeface="Cambria Math" charset="0"/>
                <a:ea typeface="Cambria Math" charset="0"/>
                <a:cs typeface="Cambria Math" charset="0"/>
              </a:rPr>
              <a:t>150.000</a:t>
            </a:r>
            <a:endParaRPr lang="en-US" sz="6000" b="1" dirty="0">
              <a:solidFill>
                <a:srgbClr val="852339"/>
              </a:solidFill>
              <a:latin typeface="Cambria Math" charset="0"/>
              <a:ea typeface="Cambria Math" charset="0"/>
              <a:cs typeface="Cambria Math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710378" y="4282267"/>
            <a:ext cx="38524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6000" b="1" dirty="0" smtClean="0">
                <a:solidFill>
                  <a:srgbClr val="852339"/>
                </a:solidFill>
                <a:latin typeface="Cambria Math" charset="0"/>
                <a:ea typeface="Cambria Math" charset="0"/>
                <a:cs typeface="Cambria Math" charset="0"/>
              </a:rPr>
              <a:t>1.934</a:t>
            </a:r>
            <a:endParaRPr lang="en-US" sz="6000" b="1" dirty="0">
              <a:solidFill>
                <a:srgbClr val="852339"/>
              </a:solidFill>
              <a:latin typeface="Cambria Math" charset="0"/>
              <a:ea typeface="Cambria Math" charset="0"/>
              <a:cs typeface="Cambria Math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21717" y="2170662"/>
            <a:ext cx="1306113" cy="682274"/>
            <a:chOff x="4860032" y="1901958"/>
            <a:chExt cx="1306113" cy="682274"/>
          </a:xfrm>
        </p:grpSpPr>
        <p:sp>
          <p:nvSpPr>
            <p:cNvPr id="10" name="Rectangle 9"/>
            <p:cNvSpPr/>
            <p:nvPr/>
          </p:nvSpPr>
          <p:spPr>
            <a:xfrm>
              <a:off x="4860032" y="1973095"/>
              <a:ext cx="540000" cy="540000"/>
            </a:xfrm>
            <a:prstGeom prst="rect">
              <a:avLst/>
            </a:prstGeom>
            <a:noFill/>
            <a:ln w="28575">
              <a:solidFill>
                <a:srgbClr val="8523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5482157" y="1901958"/>
              <a:ext cx="683988" cy="682274"/>
              <a:chOff x="5781181" y="1830821"/>
              <a:chExt cx="683988" cy="682274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5853175" y="1901958"/>
                <a:ext cx="540000" cy="540000"/>
              </a:xfrm>
              <a:prstGeom prst="rect">
                <a:avLst/>
              </a:prstGeom>
              <a:noFill/>
              <a:ln w="28575">
                <a:solidFill>
                  <a:srgbClr val="8523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Multiply 11"/>
              <p:cNvSpPr/>
              <p:nvPr/>
            </p:nvSpPr>
            <p:spPr>
              <a:xfrm>
                <a:off x="5781181" y="1830821"/>
                <a:ext cx="683988" cy="682274"/>
              </a:xfrm>
              <a:prstGeom prst="mathMultiply">
                <a:avLst>
                  <a:gd name="adj1" fmla="val 5892"/>
                </a:avLst>
              </a:prstGeom>
              <a:solidFill>
                <a:srgbClr val="8523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5" name="TextBox 14"/>
          <p:cNvSpPr txBox="1"/>
          <p:nvPr/>
        </p:nvSpPr>
        <p:spPr>
          <a:xfrm>
            <a:off x="1827830" y="2280966"/>
            <a:ext cx="42310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5F5F5F"/>
                </a:solidFill>
              </a:rPr>
              <a:t>binary </a:t>
            </a:r>
            <a:r>
              <a:rPr lang="en-US" sz="2400" dirty="0">
                <a:solidFill>
                  <a:srgbClr val="5F5F5F"/>
                </a:solidFill>
              </a:rPr>
              <a:t>c</a:t>
            </a:r>
            <a:r>
              <a:rPr lang="en-US" sz="2400" dirty="0" smtClean="0">
                <a:solidFill>
                  <a:srgbClr val="5F5F5F"/>
                </a:solidFill>
              </a:rPr>
              <a:t>lassification problem</a:t>
            </a: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39852" y="3438112"/>
            <a:ext cx="41764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5F5F5F"/>
                </a:solidFill>
              </a:rPr>
              <a:t>l</a:t>
            </a:r>
            <a:r>
              <a:rPr lang="en-US" sz="2400" dirty="0" smtClean="0">
                <a:solidFill>
                  <a:srgbClr val="5F5F5F"/>
                </a:solidFill>
              </a:rPr>
              <a:t>abeled training records</a:t>
            </a:r>
            <a:endParaRPr lang="en-US" sz="2400" dirty="0">
              <a:solidFill>
                <a:srgbClr val="5F5F5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239852" y="4552934"/>
            <a:ext cx="41764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5F5F5F"/>
                </a:solidFill>
              </a:rPr>
              <a:t>a</a:t>
            </a:r>
            <a:r>
              <a:rPr lang="en-US" sz="2400" b="1" dirty="0" smtClean="0">
                <a:solidFill>
                  <a:srgbClr val="5F5F5F"/>
                </a:solidFill>
              </a:rPr>
              <a:t>nonymized</a:t>
            </a:r>
            <a:r>
              <a:rPr lang="en-US" sz="2400" dirty="0" smtClean="0">
                <a:solidFill>
                  <a:srgbClr val="5F5F5F"/>
                </a:solidFill>
              </a:rPr>
              <a:t> attributes</a:t>
            </a:r>
            <a:endParaRPr lang="en-US" sz="2400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70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val 50"/>
          <p:cNvSpPr/>
          <p:nvPr/>
        </p:nvSpPr>
        <p:spPr>
          <a:xfrm>
            <a:off x="2807804" y="2085683"/>
            <a:ext cx="3085974" cy="3072538"/>
          </a:xfrm>
          <a:prstGeom prst="ellipse">
            <a:avLst/>
          </a:prstGeom>
          <a:noFill/>
          <a:ln w="127000">
            <a:solidFill>
              <a:srgbClr val="E6DA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Crisp-</a:t>
            </a:r>
            <a:r>
              <a:rPr lang="en-US" dirty="0" err="1" smtClean="0"/>
              <a:t>dm</a:t>
            </a:r>
            <a:r>
              <a:rPr lang="en-US" dirty="0" smtClean="0"/>
              <a:t> framework for data mining and predictive analytics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ach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2129087" y="1835648"/>
            <a:ext cx="1728192" cy="576064"/>
            <a:chOff x="1331640" y="2348880"/>
            <a:chExt cx="1728192" cy="576064"/>
          </a:xfrm>
        </p:grpSpPr>
        <p:sp>
          <p:nvSpPr>
            <p:cNvPr id="7" name="Rounded Rectangle 6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Business</a:t>
              </a:r>
              <a:r>
                <a:rPr lang="en-US" sz="1400" dirty="0" smtClean="0"/>
                <a:t> </a:t>
              </a:r>
              <a:r>
                <a:rPr lang="en-US" sz="1200" dirty="0" smtClean="0"/>
                <a:t>Understanding</a:t>
              </a:r>
              <a:endParaRPr lang="en-US" sz="1400" dirty="0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648" y="2436219"/>
              <a:ext cx="401384" cy="401384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4501334" y="1835647"/>
            <a:ext cx="1728192" cy="576064"/>
            <a:chOff x="1331640" y="2348880"/>
            <a:chExt cx="1728192" cy="576064"/>
          </a:xfrm>
        </p:grpSpPr>
        <p:sp>
          <p:nvSpPr>
            <p:cNvPr id="11" name="Rounded Rectangle 10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ata</a:t>
              </a:r>
              <a:br>
                <a:rPr lang="en-US" sz="1200" dirty="0" smtClean="0"/>
              </a:br>
              <a:r>
                <a:rPr lang="en-US" sz="1200" dirty="0" smtClean="0"/>
                <a:t>Understanding</a:t>
              </a:r>
              <a:endParaRPr lang="en-US" sz="1400" dirty="0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3648" y="2480896"/>
              <a:ext cx="401384" cy="312029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5344326" y="2877283"/>
            <a:ext cx="1728192" cy="576064"/>
            <a:chOff x="1331640" y="2348880"/>
            <a:chExt cx="1728192" cy="576064"/>
          </a:xfrm>
        </p:grpSpPr>
        <p:sp>
          <p:nvSpPr>
            <p:cNvPr id="14" name="Rounded Rectangle 13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ata</a:t>
              </a:r>
              <a:br>
                <a:rPr lang="en-US" sz="1200" dirty="0" smtClean="0"/>
              </a:br>
              <a:r>
                <a:rPr lang="en-US" sz="1200" dirty="0" smtClean="0"/>
                <a:t>Cleaning</a:t>
              </a:r>
              <a:endParaRPr lang="en-US" sz="1400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5175" y="2480896"/>
              <a:ext cx="338330" cy="312029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/>
        </p:nvGrpSpPr>
        <p:grpSpPr>
          <a:xfrm>
            <a:off x="5344326" y="4029411"/>
            <a:ext cx="1728192" cy="576064"/>
            <a:chOff x="1331640" y="2348880"/>
            <a:chExt cx="1728192" cy="576064"/>
          </a:xfrm>
        </p:grpSpPr>
        <p:sp>
          <p:nvSpPr>
            <p:cNvPr id="20" name="Rounded Rectangle 19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Modeling</a:t>
              </a:r>
              <a:endParaRPr lang="en-US" sz="1400" dirty="0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4912" y="2448134"/>
              <a:ext cx="377555" cy="377555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3551938" y="5109531"/>
            <a:ext cx="1728192" cy="576064"/>
            <a:chOff x="1543387" y="5160585"/>
            <a:chExt cx="1728192" cy="576064"/>
          </a:xfrm>
        </p:grpSpPr>
        <p:grpSp>
          <p:nvGrpSpPr>
            <p:cNvPr id="22" name="Group 21"/>
            <p:cNvGrpSpPr/>
            <p:nvPr/>
          </p:nvGrpSpPr>
          <p:grpSpPr>
            <a:xfrm>
              <a:off x="1543387" y="5160585"/>
              <a:ext cx="1728192" cy="576064"/>
              <a:chOff x="1331640" y="2348880"/>
              <a:chExt cx="1728192" cy="576064"/>
            </a:xfrm>
          </p:grpSpPr>
          <p:sp>
            <p:nvSpPr>
              <p:cNvPr id="23" name="Rounded Rectangle 22"/>
              <p:cNvSpPr/>
              <p:nvPr/>
            </p:nvSpPr>
            <p:spPr>
              <a:xfrm>
                <a:off x="1331640" y="2348880"/>
                <a:ext cx="1728192" cy="576064"/>
              </a:xfrm>
              <a:prstGeom prst="round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32000" rtlCol="0" anchor="ctr"/>
              <a:lstStyle/>
              <a:p>
                <a:pPr algn="ctr"/>
                <a:r>
                  <a:rPr lang="en-US" sz="1200" dirty="0" smtClean="0"/>
                  <a:t>Evaluation</a:t>
                </a:r>
                <a:endParaRPr lang="en-US" sz="1400" dirty="0"/>
              </a:p>
            </p:txBody>
          </p:sp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66916" y="2674041"/>
                <a:ext cx="211624" cy="213120"/>
              </a:xfrm>
              <a:prstGeom prst="rect">
                <a:avLst/>
              </a:prstGeom>
            </p:spPr>
          </p:pic>
        </p:grp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58476" y="5301432"/>
              <a:ext cx="249228" cy="199910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1823746" y="4029411"/>
            <a:ext cx="1728192" cy="576064"/>
            <a:chOff x="1331640" y="2348880"/>
            <a:chExt cx="1728192" cy="576064"/>
          </a:xfrm>
        </p:grpSpPr>
        <p:sp>
          <p:nvSpPr>
            <p:cNvPr id="28" name="Rounded Rectangle 27"/>
            <p:cNvSpPr/>
            <p:nvPr/>
          </p:nvSpPr>
          <p:spPr>
            <a:xfrm>
              <a:off x="1331640" y="2348880"/>
              <a:ext cx="1728192" cy="576064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algn="ctr"/>
              <a:r>
                <a:rPr lang="en-US" sz="1200" dirty="0" smtClean="0"/>
                <a:t>Deployment</a:t>
              </a:r>
              <a:endParaRPr lang="en-US" sz="1400" dirty="0"/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5577" y="2448134"/>
              <a:ext cx="376225" cy="377555"/>
            </a:xfrm>
            <a:prstGeom prst="rect">
              <a:avLst/>
            </a:prstGeom>
          </p:spPr>
        </p:pic>
      </p:grpSp>
      <p:cxnSp>
        <p:nvCxnSpPr>
          <p:cNvPr id="32" name="Straight Arrow Connector 31"/>
          <p:cNvCxnSpPr>
            <a:stCxn id="7" idx="3"/>
            <a:endCxn id="11" idx="1"/>
          </p:cNvCxnSpPr>
          <p:nvPr/>
        </p:nvCxnSpPr>
        <p:spPr>
          <a:xfrm flipV="1">
            <a:off x="3857279" y="2123679"/>
            <a:ext cx="644055" cy="1"/>
          </a:xfrm>
          <a:prstGeom prst="straightConnector1">
            <a:avLst/>
          </a:prstGeom>
          <a:ln w="127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1" idx="2"/>
            <a:endCxn id="14" idx="0"/>
          </p:cNvCxnSpPr>
          <p:nvPr/>
        </p:nvCxnSpPr>
        <p:spPr>
          <a:xfrm>
            <a:off x="5365430" y="2411711"/>
            <a:ext cx="842992" cy="465572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4" idx="2"/>
            <a:endCxn id="20" idx="0"/>
          </p:cNvCxnSpPr>
          <p:nvPr/>
        </p:nvCxnSpPr>
        <p:spPr>
          <a:xfrm>
            <a:off x="6208422" y="3453347"/>
            <a:ext cx="0" cy="576064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0" idx="2"/>
            <a:endCxn id="23" idx="3"/>
          </p:cNvCxnSpPr>
          <p:nvPr/>
        </p:nvCxnSpPr>
        <p:spPr>
          <a:xfrm flipH="1">
            <a:off x="5280130" y="4605475"/>
            <a:ext cx="928292" cy="792088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3" idx="1"/>
            <a:endCxn id="28" idx="2"/>
          </p:cNvCxnSpPr>
          <p:nvPr/>
        </p:nvCxnSpPr>
        <p:spPr>
          <a:xfrm flipH="1" flipV="1">
            <a:off x="2687842" y="4605475"/>
            <a:ext cx="864096" cy="792088"/>
          </a:xfrm>
          <a:prstGeom prst="straightConnector1">
            <a:avLst/>
          </a:prstGeom>
          <a:ln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23" idx="0"/>
            <a:endCxn id="7" idx="2"/>
          </p:cNvCxnSpPr>
          <p:nvPr/>
        </p:nvCxnSpPr>
        <p:spPr>
          <a:xfrm rot="16200000" flipV="1">
            <a:off x="2355700" y="3049196"/>
            <a:ext cx="2697819" cy="1422851"/>
          </a:xfrm>
          <a:prstGeom prst="curvedConnector3">
            <a:avLst>
              <a:gd name="adj1" fmla="val 41714"/>
            </a:avLst>
          </a:prstGeom>
          <a:ln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an 48"/>
          <p:cNvSpPr/>
          <p:nvPr/>
        </p:nvSpPr>
        <p:spPr>
          <a:xfrm>
            <a:off x="3928071" y="2840147"/>
            <a:ext cx="975925" cy="1226400"/>
          </a:xfrm>
          <a:prstGeom prst="can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36000" rtlCol="0" anchor="ctr"/>
          <a:lstStyle/>
          <a:p>
            <a:pPr algn="ctr"/>
            <a:r>
              <a:rPr lang="en-US" sz="1600" dirty="0" smtClean="0"/>
              <a:t>DATA</a:t>
            </a:r>
            <a:endParaRPr lang="en-US" sz="1600" dirty="0"/>
          </a:p>
        </p:txBody>
      </p:sp>
      <p:sp>
        <p:nvSpPr>
          <p:cNvPr id="72" name="Triangle 71"/>
          <p:cNvSpPr/>
          <p:nvPr/>
        </p:nvSpPr>
        <p:spPr>
          <a:xfrm flipV="1">
            <a:off x="5641821" y="3585363"/>
            <a:ext cx="503914" cy="278189"/>
          </a:xfrm>
          <a:prstGeom prst="triangle">
            <a:avLst/>
          </a:prstGeom>
          <a:solidFill>
            <a:srgbClr val="E6D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riangle 36"/>
          <p:cNvSpPr/>
          <p:nvPr/>
        </p:nvSpPr>
        <p:spPr>
          <a:xfrm rot="10800000" flipV="1">
            <a:off x="2553790" y="3411461"/>
            <a:ext cx="503914" cy="278189"/>
          </a:xfrm>
          <a:prstGeom prst="triangle">
            <a:avLst/>
          </a:prstGeom>
          <a:solidFill>
            <a:srgbClr val="E6DA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19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827584" y="1773216"/>
            <a:ext cx="0" cy="360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leichschenkliges Dreieck 7"/>
          <p:cNvSpPr/>
          <p:nvPr/>
        </p:nvSpPr>
        <p:spPr>
          <a:xfrm rot="5400000">
            <a:off x="827584" y="2639817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1223628" y="2549803"/>
            <a:ext cx="53645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dirty="0" smtClean="0"/>
              <a:t>Data Understanding </a:t>
            </a:r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r>
              <a:rPr lang="de-DE" dirty="0" smtClean="0"/>
              <a:t>Data </a:t>
            </a:r>
            <a:r>
              <a:rPr lang="de-DE" dirty="0" err="1" smtClean="0"/>
              <a:t>Cleaning</a:t>
            </a:r>
            <a:endParaRPr lang="de-DE" dirty="0" smtClean="0"/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r>
              <a:rPr lang="de-DE" dirty="0" smtClean="0"/>
              <a:t>Modeling</a:t>
            </a:r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r>
              <a:rPr lang="de-DE" dirty="0" smtClean="0"/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79995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Done with mi package (15 iterations/attribute)</a:t>
            </a:r>
          </a:p>
          <a:p>
            <a:r>
              <a:rPr lang="en-US" dirty="0"/>
              <a:t>The algorithm </a:t>
            </a:r>
            <a:r>
              <a:rPr lang="en-US" dirty="0" smtClean="0"/>
              <a:t>iteratively </a:t>
            </a:r>
            <a:r>
              <a:rPr lang="en-US" dirty="0"/>
              <a:t>draws imputed values from the conditional distribution for each variable given the observed and imputed values of the other variables in the data. </a:t>
            </a:r>
            <a:endParaRPr lang="en-US" dirty="0" smtClean="0"/>
          </a:p>
          <a:p>
            <a:r>
              <a:rPr lang="en-US" dirty="0" smtClean="0"/>
              <a:t>The imputation of one attribute is based on the top 5 highest spearman correlating attributes for performance reasons</a:t>
            </a:r>
          </a:p>
          <a:p>
            <a:r>
              <a:rPr lang="en-US" dirty="0" smtClean="0"/>
              <a:t>Factors are not imputed</a:t>
            </a:r>
            <a:endParaRPr lang="en-US" dirty="0"/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utation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ettif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07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Imputation by chained equations impractical on all attributes at once</a:t>
            </a:r>
          </a:p>
          <a:p>
            <a:r>
              <a:rPr lang="en-US" dirty="0" smtClean="0"/>
              <a:t>Selection of </a:t>
            </a:r>
            <a:r>
              <a:rPr lang="en-US" i="1" dirty="0" smtClean="0"/>
              <a:t>helpful</a:t>
            </a:r>
            <a:r>
              <a:rPr lang="en-US" dirty="0" smtClean="0"/>
              <a:t> attributes for imputation of </a:t>
            </a:r>
            <a:br>
              <a:rPr lang="en-US" dirty="0" smtClean="0"/>
            </a:br>
            <a:r>
              <a:rPr lang="en-US" dirty="0" smtClean="0"/>
              <a:t>attribute </a:t>
            </a:r>
            <a:r>
              <a:rPr lang="en-US" b="1" i="1" dirty="0" smtClean="0">
                <a:latin typeface="Cambria Math" charset="0"/>
                <a:ea typeface="Cambria Math" charset="0"/>
                <a:cs typeface="Cambria Math" charset="0"/>
              </a:rPr>
              <a:t>a</a:t>
            </a:r>
            <a:r>
              <a:rPr lang="en-US" dirty="0" smtClean="0"/>
              <a:t> required and done through:</a:t>
            </a:r>
          </a:p>
          <a:p>
            <a:endParaRPr lang="en-US" dirty="0" smtClean="0"/>
          </a:p>
          <a:p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utation concept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697056" y="3522691"/>
            <a:ext cx="3348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High</a:t>
            </a:r>
            <a:r>
              <a:rPr lang="en-US" dirty="0" smtClean="0"/>
              <a:t> value correlation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319972" y="3522691"/>
            <a:ext cx="41724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“</a:t>
            </a:r>
            <a:r>
              <a:rPr lang="en-US" dirty="0" err="1" smtClean="0"/>
              <a:t>Missingness</a:t>
            </a:r>
            <a:r>
              <a:rPr lang="en-US" dirty="0" smtClean="0"/>
              <a:t>” pattern correlation </a:t>
            </a:r>
            <a:r>
              <a:rPr lang="en-US" b="1" dirty="0" smtClean="0"/>
              <a:t>below threshold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27584" y="4325951"/>
            <a:ext cx="3351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igh correlating attributes are good basis for imputation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827584" y="4982454"/>
            <a:ext cx="3351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mr-IN" dirty="0" smtClean="0"/>
              <a:t>…</a:t>
            </a:r>
            <a:r>
              <a:rPr lang="de-DE" dirty="0" smtClean="0"/>
              <a:t> but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missing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well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o-be-imputed</a:t>
            </a:r>
            <a:r>
              <a:rPr lang="de-DE" dirty="0" smtClean="0"/>
              <a:t> </a:t>
            </a:r>
            <a:r>
              <a:rPr lang="de-DE" dirty="0" err="1" smtClean="0"/>
              <a:t>record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376271" y="4382290"/>
            <a:ext cx="41636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Pearson </a:t>
            </a:r>
            <a:r>
              <a:rPr lang="en-US" dirty="0"/>
              <a:t>cor. on </a:t>
            </a:r>
            <a:r>
              <a:rPr lang="en-US" dirty="0" err="1"/>
              <a:t>boolean</a:t>
            </a:r>
            <a:r>
              <a:rPr lang="en-US" dirty="0"/>
              <a:t>-casted data)</a:t>
            </a:r>
          </a:p>
          <a:p>
            <a:endParaRPr lang="en-US" dirty="0" smtClean="0"/>
          </a:p>
          <a:p>
            <a:r>
              <a:rPr lang="en-US" dirty="0" smtClean="0"/>
              <a:t>We do not want </a:t>
            </a:r>
            <a:r>
              <a:rPr lang="en-US" dirty="0" err="1" smtClean="0"/>
              <a:t>helpuful</a:t>
            </a:r>
            <a:r>
              <a:rPr lang="en-US" dirty="0" smtClean="0"/>
              <a:t> attributes to be missing as well when </a:t>
            </a:r>
            <a:r>
              <a:rPr lang="en-US" b="1" i="1" dirty="0" smtClean="0">
                <a:latin typeface="Cambria Math" charset="0"/>
                <a:ea typeface="Cambria Math" charset="0"/>
                <a:cs typeface="Cambria Math" charset="0"/>
              </a:rPr>
              <a:t>a</a:t>
            </a:r>
            <a:r>
              <a:rPr lang="en-US" dirty="0" smtClean="0"/>
              <a:t> is missing</a:t>
            </a:r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827584" y="4077072"/>
            <a:ext cx="7272808" cy="360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H="1">
            <a:off x="4175956" y="4095074"/>
            <a:ext cx="3328" cy="18065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93005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31533"/>
            <a:ext cx="4257827" cy="4257827"/>
          </a:xfrm>
          <a:prstGeom prst="rect">
            <a:avLst/>
          </a:prstGeom>
        </p:spPr>
      </p:pic>
      <p:pic>
        <p:nvPicPr>
          <p:cNvPr id="7" name="Content Placeholder 6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936" y="1806320"/>
            <a:ext cx="4822419" cy="3857938"/>
          </a:xfrm>
        </p:spPr>
      </p:pic>
    </p:spTree>
    <p:extLst>
      <p:ext uri="{BB962C8B-B14F-4D97-AF65-F5344CB8AC3E}">
        <p14:creationId xmlns:p14="http://schemas.microsoft.com/office/powerpoint/2010/main" val="13216361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impute v1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715376727"/>
              </p:ext>
            </p:extLst>
          </p:nvPr>
        </p:nvGraphicFramePr>
        <p:xfrm>
          <a:off x="371722" y="1330261"/>
          <a:ext cx="1765653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8551"/>
                <a:gridCol w="588551"/>
                <a:gridCol w="588551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V1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2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A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2.3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.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.8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0.2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A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71722" y="3933055"/>
            <a:ext cx="8359703" cy="1629545"/>
          </a:xfrm>
        </p:spPr>
        <p:txBody>
          <a:bodyPr>
            <a:normAutofit/>
          </a:bodyPr>
          <a:lstStyle/>
          <a:p>
            <a:r>
              <a:rPr lang="en-US" dirty="0" smtClean="0"/>
              <a:t>V1 and V3 have high value correlation, but also high </a:t>
            </a:r>
            <a:r>
              <a:rPr lang="en-US" dirty="0" err="1" smtClean="0"/>
              <a:t>missingness</a:t>
            </a:r>
            <a:r>
              <a:rPr lang="en-US" dirty="0" smtClean="0"/>
              <a:t> correlation </a:t>
            </a:r>
            <a:r>
              <a:rPr lang="en-US" dirty="0" smtClean="0">
                <a:sym typeface="Wingdings"/>
              </a:rPr>
              <a:t> V3 is no imputation candidate</a:t>
            </a:r>
            <a:r>
              <a:rPr lang="en-US" dirty="0" smtClean="0"/>
              <a:t> </a:t>
            </a:r>
          </a:p>
          <a:p>
            <a:r>
              <a:rPr lang="en-US" dirty="0" smtClean="0"/>
              <a:t>V1 and V2 show less </a:t>
            </a:r>
            <a:r>
              <a:rPr lang="en-US" dirty="0" err="1" smtClean="0"/>
              <a:t>missingness</a:t>
            </a:r>
            <a:r>
              <a:rPr lang="en-US" dirty="0" smtClean="0"/>
              <a:t> correlation and the values are correlated </a:t>
            </a:r>
            <a:r>
              <a:rPr lang="en-US" dirty="0" smtClean="0">
                <a:sym typeface="Wingdings"/>
              </a:rPr>
              <a:t> V2 is imputation candidate</a:t>
            </a:r>
          </a:p>
        </p:txBody>
      </p:sp>
      <p:graphicFrame>
        <p:nvGraphicFramePr>
          <p:cNvPr id="11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8826342"/>
              </p:ext>
            </p:extLst>
          </p:nvPr>
        </p:nvGraphicFramePr>
        <p:xfrm>
          <a:off x="2957915" y="1330261"/>
          <a:ext cx="1765653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8551"/>
                <a:gridCol w="588551"/>
                <a:gridCol w="588551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V1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2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T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T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T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T</a:t>
                      </a:r>
                      <a:endParaRPr lang="en-US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T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957916" y="971436"/>
            <a:ext cx="17656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/>
              <a:t>Missingnes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71722" y="952507"/>
            <a:ext cx="1765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mtClean="0"/>
              <a:t>Valu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8740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ample</a:t>
            </a:r>
          </a:p>
          <a:p>
            <a:pPr lvl="1"/>
            <a:r>
              <a:rPr lang="en-US" dirty="0" smtClean="0"/>
              <a:t>Increase sample size</a:t>
            </a:r>
          </a:p>
          <a:p>
            <a:r>
              <a:rPr lang="en-US" dirty="0" smtClean="0"/>
              <a:t>Imputation</a:t>
            </a:r>
          </a:p>
          <a:p>
            <a:pPr lvl="1"/>
            <a:r>
              <a:rPr lang="en-US" dirty="0" smtClean="0"/>
              <a:t>Numerical</a:t>
            </a:r>
          </a:p>
          <a:p>
            <a:pPr lvl="2"/>
            <a:r>
              <a:rPr lang="en-US" dirty="0" smtClean="0"/>
              <a:t>Change number of top correlating attributes used for imputation</a:t>
            </a:r>
          </a:p>
          <a:p>
            <a:pPr lvl="2"/>
            <a:r>
              <a:rPr lang="en-US" dirty="0" smtClean="0"/>
              <a:t>Use random attributes instead of top correlating ones</a:t>
            </a:r>
          </a:p>
          <a:p>
            <a:pPr lvl="1"/>
            <a:r>
              <a:rPr lang="en-US" dirty="0" smtClean="0"/>
              <a:t>Factors</a:t>
            </a:r>
          </a:p>
          <a:p>
            <a:pPr lvl="2"/>
            <a:r>
              <a:rPr lang="en-US" dirty="0" smtClean="0"/>
              <a:t>Also impute factor NAs instead of treating them as a level</a:t>
            </a:r>
          </a:p>
          <a:p>
            <a:pPr lvl="2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on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ettif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295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CIS Presentation Template">
  <a:themeElements>
    <a:clrScheme name="Custom 1">
      <a:dk1>
        <a:srgbClr val="000000"/>
      </a:dk1>
      <a:lt1>
        <a:srgbClr val="FFFFFF"/>
      </a:lt1>
      <a:dk2>
        <a:srgbClr val="5E5E5D"/>
      </a:dk2>
      <a:lt2>
        <a:srgbClr val="8797A3"/>
      </a:lt2>
      <a:accent1>
        <a:srgbClr val="852339"/>
      </a:accent1>
      <a:accent2>
        <a:srgbClr val="8797A3"/>
      </a:accent2>
      <a:accent3>
        <a:srgbClr val="435C8B"/>
      </a:accent3>
      <a:accent4>
        <a:srgbClr val="009CB3"/>
      </a:accent4>
      <a:accent5>
        <a:srgbClr val="E77C12"/>
      </a:accent5>
      <a:accent6>
        <a:srgbClr val="87BF2A"/>
      </a:accent6>
      <a:hlink>
        <a:srgbClr val="852339"/>
      </a:hlink>
      <a:folHlink>
        <a:srgbClr val="FEFFFF"/>
      </a:folHlink>
    </a:clrScheme>
    <a:fontScheme name="ERCI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6E41BDB4-5402-44DA-B645-9072198570B8}" vid="{4CED2DA4-BDC7-4E26-85EE-A06D8C0126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RCIS_Template_Office2013</Template>
  <TotalTime>24299</TotalTime>
  <Words>658</Words>
  <Application>Microsoft Macintosh PowerPoint</Application>
  <PresentationFormat>On-screen Show (4:3)</PresentationFormat>
  <Paragraphs>174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Calibri</vt:lpstr>
      <vt:lpstr>Cambria Math</vt:lpstr>
      <vt:lpstr>Trebuchet MS</vt:lpstr>
      <vt:lpstr>Wingdings</vt:lpstr>
      <vt:lpstr>Arial</vt:lpstr>
      <vt:lpstr>ERCIS Presentation Template</vt:lpstr>
      <vt:lpstr>think-cell Folie</vt:lpstr>
      <vt:lpstr>Springleaf marketing response</vt:lpstr>
      <vt:lpstr>Determine whether to send a  direct mail piece to a customer</vt:lpstr>
      <vt:lpstr>approach</vt:lpstr>
      <vt:lpstr>Agenda</vt:lpstr>
      <vt:lpstr>Imputation</vt:lpstr>
      <vt:lpstr>Imputation concept</vt:lpstr>
      <vt:lpstr>PowerPoint Presentation</vt:lpstr>
      <vt:lpstr>example: impute v1</vt:lpstr>
      <vt:lpstr>Options</vt:lpstr>
      <vt:lpstr>Modeling</vt:lpstr>
      <vt:lpstr>Receiver operator characteristic</vt:lpstr>
      <vt:lpstr>Boosting (Additive learning)</vt:lpstr>
      <vt:lpstr>eXtreme gradient Boosting (xgboost)</vt:lpstr>
      <vt:lpstr>xgboost</vt:lpstr>
      <vt:lpstr>Xgboost</vt:lpstr>
      <vt:lpstr>What makes the difference</vt:lpstr>
    </vt:vector>
  </TitlesOfParts>
  <Manager>armin.stein@ercis.uni-muenster.de</Manager>
  <Company>WI WWU</Company>
  <LinksUpToDate>false</LinksUpToDate>
  <SharedDoc>false</SharedDoc>
  <HyperlinksChanged>false</HyperlinksChanged>
  <AppVersion>15.002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aheuristics</dc:title>
  <dc:creator>Marcus Cramer</dc:creator>
  <cp:lastModifiedBy>Markus Heuchert</cp:lastModifiedBy>
  <cp:revision>1318</cp:revision>
  <cp:lastPrinted>2012-03-27T13:30:40Z</cp:lastPrinted>
  <dcterms:created xsi:type="dcterms:W3CDTF">2014-04-02T10:21:58Z</dcterms:created>
  <dcterms:modified xsi:type="dcterms:W3CDTF">2017-01-04T18:49:28Z</dcterms:modified>
</cp:coreProperties>
</file>